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1"/>
  </p:sldMasterIdLst>
  <p:sldIdLst>
    <p:sldId id="256" r:id="rId2"/>
  </p:sldIdLst>
  <p:sldSz cx="7570788" cy="16386175"/>
  <p:notesSz cx="6858000" cy="9144000"/>
  <p:custDataLst>
    <p:tags r:id="rId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9F9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145"/>
    <p:restoredTop sz="94694"/>
  </p:normalViewPr>
  <p:slideViewPr>
    <p:cSldViewPr snapToGrid="0">
      <p:cViewPr>
        <p:scale>
          <a:sx n="43" d="100"/>
          <a:sy n="43" d="100"/>
        </p:scale>
        <p:origin x="2704" y="5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67809" y="2681720"/>
            <a:ext cx="6435170" cy="5704816"/>
          </a:xfrm>
        </p:spPr>
        <p:txBody>
          <a:bodyPr anchor="b"/>
          <a:lstStyle>
            <a:lvl1pPr algn="ctr">
              <a:defRPr sz="4968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46349" y="8606536"/>
            <a:ext cx="5678091" cy="3956198"/>
          </a:xfrm>
        </p:spPr>
        <p:txBody>
          <a:bodyPr/>
          <a:lstStyle>
            <a:lvl1pPr marL="0" indent="0" algn="ctr">
              <a:buNone/>
              <a:defRPr sz="1987"/>
            </a:lvl1pPr>
            <a:lvl2pPr marL="378562" indent="0" algn="ctr">
              <a:buNone/>
              <a:defRPr sz="1656"/>
            </a:lvl2pPr>
            <a:lvl3pPr marL="757123" indent="0" algn="ctr">
              <a:buNone/>
              <a:defRPr sz="1490"/>
            </a:lvl3pPr>
            <a:lvl4pPr marL="1135685" indent="0" algn="ctr">
              <a:buNone/>
              <a:defRPr sz="1325"/>
            </a:lvl4pPr>
            <a:lvl5pPr marL="1514246" indent="0" algn="ctr">
              <a:buNone/>
              <a:defRPr sz="1325"/>
            </a:lvl5pPr>
            <a:lvl6pPr marL="1892808" indent="0" algn="ctr">
              <a:buNone/>
              <a:defRPr sz="1325"/>
            </a:lvl6pPr>
            <a:lvl7pPr marL="2271370" indent="0" algn="ctr">
              <a:buNone/>
              <a:defRPr sz="1325"/>
            </a:lvl7pPr>
            <a:lvl8pPr marL="2649931" indent="0" algn="ctr">
              <a:buNone/>
              <a:defRPr sz="1325"/>
            </a:lvl8pPr>
            <a:lvl9pPr marL="3028493" indent="0" algn="ctr">
              <a:buNone/>
              <a:defRPr sz="1325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C121CD-4B1F-D44C-BBCB-1397DB8425BA}" type="datetimeFigureOut">
              <a:rPr lang="en-US" smtClean="0"/>
              <a:t>3/1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A939A-74C7-7047-AAEF-3F9F9B8C28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07060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C121CD-4B1F-D44C-BBCB-1397DB8425BA}" type="datetimeFigureOut">
              <a:rPr lang="en-US" smtClean="0"/>
              <a:t>3/1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A939A-74C7-7047-AAEF-3F9F9B8C28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95390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417846" y="872412"/>
            <a:ext cx="1632451" cy="13886526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20492" y="872412"/>
            <a:ext cx="4802719" cy="1388652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C121CD-4B1F-D44C-BBCB-1397DB8425BA}" type="datetimeFigureOut">
              <a:rPr lang="en-US" smtClean="0"/>
              <a:t>3/1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A939A-74C7-7047-AAEF-3F9F9B8C28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4982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C121CD-4B1F-D44C-BBCB-1397DB8425BA}" type="datetimeFigureOut">
              <a:rPr lang="en-US" smtClean="0"/>
              <a:t>3/1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A939A-74C7-7047-AAEF-3F9F9B8C28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79610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6549" y="4085169"/>
            <a:ext cx="6529805" cy="6816192"/>
          </a:xfrm>
        </p:spPr>
        <p:txBody>
          <a:bodyPr anchor="b"/>
          <a:lstStyle>
            <a:lvl1pPr>
              <a:defRPr sz="4968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6549" y="10965845"/>
            <a:ext cx="6529805" cy="3584475"/>
          </a:xfrm>
        </p:spPr>
        <p:txBody>
          <a:bodyPr/>
          <a:lstStyle>
            <a:lvl1pPr marL="0" indent="0">
              <a:buNone/>
              <a:defRPr sz="1987">
                <a:solidFill>
                  <a:schemeClr val="tx1"/>
                </a:solidFill>
              </a:defRPr>
            </a:lvl1pPr>
            <a:lvl2pPr marL="378562" indent="0">
              <a:buNone/>
              <a:defRPr sz="1656">
                <a:solidFill>
                  <a:schemeClr val="tx1">
                    <a:tint val="75000"/>
                  </a:schemeClr>
                </a:solidFill>
              </a:defRPr>
            </a:lvl2pPr>
            <a:lvl3pPr marL="757123" indent="0">
              <a:buNone/>
              <a:defRPr sz="1490">
                <a:solidFill>
                  <a:schemeClr val="tx1">
                    <a:tint val="75000"/>
                  </a:schemeClr>
                </a:solidFill>
              </a:defRPr>
            </a:lvl3pPr>
            <a:lvl4pPr marL="1135685" indent="0">
              <a:buNone/>
              <a:defRPr sz="1325">
                <a:solidFill>
                  <a:schemeClr val="tx1">
                    <a:tint val="75000"/>
                  </a:schemeClr>
                </a:solidFill>
              </a:defRPr>
            </a:lvl4pPr>
            <a:lvl5pPr marL="1514246" indent="0">
              <a:buNone/>
              <a:defRPr sz="1325">
                <a:solidFill>
                  <a:schemeClr val="tx1">
                    <a:tint val="75000"/>
                  </a:schemeClr>
                </a:solidFill>
              </a:defRPr>
            </a:lvl5pPr>
            <a:lvl6pPr marL="1892808" indent="0">
              <a:buNone/>
              <a:defRPr sz="1325">
                <a:solidFill>
                  <a:schemeClr val="tx1">
                    <a:tint val="75000"/>
                  </a:schemeClr>
                </a:solidFill>
              </a:defRPr>
            </a:lvl6pPr>
            <a:lvl7pPr marL="2271370" indent="0">
              <a:buNone/>
              <a:defRPr sz="1325">
                <a:solidFill>
                  <a:schemeClr val="tx1">
                    <a:tint val="75000"/>
                  </a:schemeClr>
                </a:solidFill>
              </a:defRPr>
            </a:lvl7pPr>
            <a:lvl8pPr marL="2649931" indent="0">
              <a:buNone/>
              <a:defRPr sz="1325">
                <a:solidFill>
                  <a:schemeClr val="tx1">
                    <a:tint val="75000"/>
                  </a:schemeClr>
                </a:solidFill>
              </a:defRPr>
            </a:lvl8pPr>
            <a:lvl9pPr marL="3028493" indent="0">
              <a:buNone/>
              <a:defRPr sz="132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C121CD-4B1F-D44C-BBCB-1397DB8425BA}" type="datetimeFigureOut">
              <a:rPr lang="en-US" smtClean="0"/>
              <a:t>3/1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A939A-74C7-7047-AAEF-3F9F9B8C28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13613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20492" y="4362060"/>
            <a:ext cx="3217585" cy="103968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32711" y="4362060"/>
            <a:ext cx="3217585" cy="103968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C121CD-4B1F-D44C-BBCB-1397DB8425BA}" type="datetimeFigureOut">
              <a:rPr lang="en-US" smtClean="0"/>
              <a:t>3/13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A939A-74C7-7047-AAEF-3F9F9B8C28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71769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1478" y="872416"/>
            <a:ext cx="6529805" cy="31672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1478" y="4016890"/>
            <a:ext cx="3202798" cy="1968616"/>
          </a:xfrm>
        </p:spPr>
        <p:txBody>
          <a:bodyPr anchor="b"/>
          <a:lstStyle>
            <a:lvl1pPr marL="0" indent="0">
              <a:buNone/>
              <a:defRPr sz="1987" b="1"/>
            </a:lvl1pPr>
            <a:lvl2pPr marL="378562" indent="0">
              <a:buNone/>
              <a:defRPr sz="1656" b="1"/>
            </a:lvl2pPr>
            <a:lvl3pPr marL="757123" indent="0">
              <a:buNone/>
              <a:defRPr sz="1490" b="1"/>
            </a:lvl3pPr>
            <a:lvl4pPr marL="1135685" indent="0">
              <a:buNone/>
              <a:defRPr sz="1325" b="1"/>
            </a:lvl4pPr>
            <a:lvl5pPr marL="1514246" indent="0">
              <a:buNone/>
              <a:defRPr sz="1325" b="1"/>
            </a:lvl5pPr>
            <a:lvl6pPr marL="1892808" indent="0">
              <a:buNone/>
              <a:defRPr sz="1325" b="1"/>
            </a:lvl6pPr>
            <a:lvl7pPr marL="2271370" indent="0">
              <a:buNone/>
              <a:defRPr sz="1325" b="1"/>
            </a:lvl7pPr>
            <a:lvl8pPr marL="2649931" indent="0">
              <a:buNone/>
              <a:defRPr sz="1325" b="1"/>
            </a:lvl8pPr>
            <a:lvl9pPr marL="3028493" indent="0">
              <a:buNone/>
              <a:defRPr sz="1325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1478" y="5985506"/>
            <a:ext cx="3202798" cy="880377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32712" y="4016890"/>
            <a:ext cx="3218571" cy="1968616"/>
          </a:xfrm>
        </p:spPr>
        <p:txBody>
          <a:bodyPr anchor="b"/>
          <a:lstStyle>
            <a:lvl1pPr marL="0" indent="0">
              <a:buNone/>
              <a:defRPr sz="1987" b="1"/>
            </a:lvl1pPr>
            <a:lvl2pPr marL="378562" indent="0">
              <a:buNone/>
              <a:defRPr sz="1656" b="1"/>
            </a:lvl2pPr>
            <a:lvl3pPr marL="757123" indent="0">
              <a:buNone/>
              <a:defRPr sz="1490" b="1"/>
            </a:lvl3pPr>
            <a:lvl4pPr marL="1135685" indent="0">
              <a:buNone/>
              <a:defRPr sz="1325" b="1"/>
            </a:lvl4pPr>
            <a:lvl5pPr marL="1514246" indent="0">
              <a:buNone/>
              <a:defRPr sz="1325" b="1"/>
            </a:lvl5pPr>
            <a:lvl6pPr marL="1892808" indent="0">
              <a:buNone/>
              <a:defRPr sz="1325" b="1"/>
            </a:lvl6pPr>
            <a:lvl7pPr marL="2271370" indent="0">
              <a:buNone/>
              <a:defRPr sz="1325" b="1"/>
            </a:lvl7pPr>
            <a:lvl8pPr marL="2649931" indent="0">
              <a:buNone/>
              <a:defRPr sz="1325" b="1"/>
            </a:lvl8pPr>
            <a:lvl9pPr marL="3028493" indent="0">
              <a:buNone/>
              <a:defRPr sz="1325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832712" y="5985506"/>
            <a:ext cx="3218571" cy="880377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C121CD-4B1F-D44C-BBCB-1397DB8425BA}" type="datetimeFigureOut">
              <a:rPr lang="en-US" smtClean="0"/>
              <a:t>3/13/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A939A-74C7-7047-AAEF-3F9F9B8C28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34008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C121CD-4B1F-D44C-BBCB-1397DB8425BA}" type="datetimeFigureOut">
              <a:rPr lang="en-US" smtClean="0"/>
              <a:t>3/13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A939A-74C7-7047-AAEF-3F9F9B8C28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67657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C121CD-4B1F-D44C-BBCB-1397DB8425BA}" type="datetimeFigureOut">
              <a:rPr lang="en-US" smtClean="0"/>
              <a:t>3/13/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A939A-74C7-7047-AAEF-3F9F9B8C28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95264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1478" y="1092412"/>
            <a:ext cx="2441776" cy="3823441"/>
          </a:xfrm>
        </p:spPr>
        <p:txBody>
          <a:bodyPr anchor="b"/>
          <a:lstStyle>
            <a:lvl1pPr>
              <a:defRPr sz="265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18571" y="2359309"/>
            <a:ext cx="3832711" cy="11644805"/>
          </a:xfrm>
        </p:spPr>
        <p:txBody>
          <a:bodyPr/>
          <a:lstStyle>
            <a:lvl1pPr>
              <a:defRPr sz="2650"/>
            </a:lvl1pPr>
            <a:lvl2pPr>
              <a:defRPr sz="2318"/>
            </a:lvl2pPr>
            <a:lvl3pPr>
              <a:defRPr sz="1987"/>
            </a:lvl3pPr>
            <a:lvl4pPr>
              <a:defRPr sz="1656"/>
            </a:lvl4pPr>
            <a:lvl5pPr>
              <a:defRPr sz="1656"/>
            </a:lvl5pPr>
            <a:lvl6pPr>
              <a:defRPr sz="1656"/>
            </a:lvl6pPr>
            <a:lvl7pPr>
              <a:defRPr sz="1656"/>
            </a:lvl7pPr>
            <a:lvl8pPr>
              <a:defRPr sz="1656"/>
            </a:lvl8pPr>
            <a:lvl9pPr>
              <a:defRPr sz="165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21478" y="4915852"/>
            <a:ext cx="2441776" cy="9107225"/>
          </a:xfrm>
        </p:spPr>
        <p:txBody>
          <a:bodyPr/>
          <a:lstStyle>
            <a:lvl1pPr marL="0" indent="0">
              <a:buNone/>
              <a:defRPr sz="1325"/>
            </a:lvl1pPr>
            <a:lvl2pPr marL="378562" indent="0">
              <a:buNone/>
              <a:defRPr sz="1159"/>
            </a:lvl2pPr>
            <a:lvl3pPr marL="757123" indent="0">
              <a:buNone/>
              <a:defRPr sz="994"/>
            </a:lvl3pPr>
            <a:lvl4pPr marL="1135685" indent="0">
              <a:buNone/>
              <a:defRPr sz="828"/>
            </a:lvl4pPr>
            <a:lvl5pPr marL="1514246" indent="0">
              <a:buNone/>
              <a:defRPr sz="828"/>
            </a:lvl5pPr>
            <a:lvl6pPr marL="1892808" indent="0">
              <a:buNone/>
              <a:defRPr sz="828"/>
            </a:lvl6pPr>
            <a:lvl7pPr marL="2271370" indent="0">
              <a:buNone/>
              <a:defRPr sz="828"/>
            </a:lvl7pPr>
            <a:lvl8pPr marL="2649931" indent="0">
              <a:buNone/>
              <a:defRPr sz="828"/>
            </a:lvl8pPr>
            <a:lvl9pPr marL="3028493" indent="0">
              <a:buNone/>
              <a:defRPr sz="82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C121CD-4B1F-D44C-BBCB-1397DB8425BA}" type="datetimeFigureOut">
              <a:rPr lang="en-US" smtClean="0"/>
              <a:t>3/13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A939A-74C7-7047-AAEF-3F9F9B8C28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67596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1478" y="1092412"/>
            <a:ext cx="2441776" cy="3823441"/>
          </a:xfrm>
        </p:spPr>
        <p:txBody>
          <a:bodyPr anchor="b"/>
          <a:lstStyle>
            <a:lvl1pPr>
              <a:defRPr sz="265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218571" y="2359309"/>
            <a:ext cx="3832711" cy="11644805"/>
          </a:xfrm>
        </p:spPr>
        <p:txBody>
          <a:bodyPr anchor="t"/>
          <a:lstStyle>
            <a:lvl1pPr marL="0" indent="0">
              <a:buNone/>
              <a:defRPr sz="2650"/>
            </a:lvl1pPr>
            <a:lvl2pPr marL="378562" indent="0">
              <a:buNone/>
              <a:defRPr sz="2318"/>
            </a:lvl2pPr>
            <a:lvl3pPr marL="757123" indent="0">
              <a:buNone/>
              <a:defRPr sz="1987"/>
            </a:lvl3pPr>
            <a:lvl4pPr marL="1135685" indent="0">
              <a:buNone/>
              <a:defRPr sz="1656"/>
            </a:lvl4pPr>
            <a:lvl5pPr marL="1514246" indent="0">
              <a:buNone/>
              <a:defRPr sz="1656"/>
            </a:lvl5pPr>
            <a:lvl6pPr marL="1892808" indent="0">
              <a:buNone/>
              <a:defRPr sz="1656"/>
            </a:lvl6pPr>
            <a:lvl7pPr marL="2271370" indent="0">
              <a:buNone/>
              <a:defRPr sz="1656"/>
            </a:lvl7pPr>
            <a:lvl8pPr marL="2649931" indent="0">
              <a:buNone/>
              <a:defRPr sz="1656"/>
            </a:lvl8pPr>
            <a:lvl9pPr marL="3028493" indent="0">
              <a:buNone/>
              <a:defRPr sz="1656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21478" y="4915852"/>
            <a:ext cx="2441776" cy="9107225"/>
          </a:xfrm>
        </p:spPr>
        <p:txBody>
          <a:bodyPr/>
          <a:lstStyle>
            <a:lvl1pPr marL="0" indent="0">
              <a:buNone/>
              <a:defRPr sz="1325"/>
            </a:lvl1pPr>
            <a:lvl2pPr marL="378562" indent="0">
              <a:buNone/>
              <a:defRPr sz="1159"/>
            </a:lvl2pPr>
            <a:lvl3pPr marL="757123" indent="0">
              <a:buNone/>
              <a:defRPr sz="994"/>
            </a:lvl3pPr>
            <a:lvl4pPr marL="1135685" indent="0">
              <a:buNone/>
              <a:defRPr sz="828"/>
            </a:lvl4pPr>
            <a:lvl5pPr marL="1514246" indent="0">
              <a:buNone/>
              <a:defRPr sz="828"/>
            </a:lvl5pPr>
            <a:lvl6pPr marL="1892808" indent="0">
              <a:buNone/>
              <a:defRPr sz="828"/>
            </a:lvl6pPr>
            <a:lvl7pPr marL="2271370" indent="0">
              <a:buNone/>
              <a:defRPr sz="828"/>
            </a:lvl7pPr>
            <a:lvl8pPr marL="2649931" indent="0">
              <a:buNone/>
              <a:defRPr sz="828"/>
            </a:lvl8pPr>
            <a:lvl9pPr marL="3028493" indent="0">
              <a:buNone/>
              <a:defRPr sz="82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C121CD-4B1F-D44C-BBCB-1397DB8425BA}" type="datetimeFigureOut">
              <a:rPr lang="en-US" smtClean="0"/>
              <a:t>3/13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A939A-74C7-7047-AAEF-3F9F9B8C28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33864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20492" y="872416"/>
            <a:ext cx="6529805" cy="31672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0492" y="4362060"/>
            <a:ext cx="6529805" cy="1039687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20492" y="15187560"/>
            <a:ext cx="1703427" cy="8724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9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C121CD-4B1F-D44C-BBCB-1397DB8425BA}" type="datetimeFigureOut">
              <a:rPr lang="en-US" smtClean="0"/>
              <a:t>3/1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07824" y="15187560"/>
            <a:ext cx="2555141" cy="8724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9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46869" y="15187560"/>
            <a:ext cx="1703427" cy="8724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9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1A939A-74C7-7047-AAEF-3F9F9B8C287E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5B965D3-1DED-B037-4B0C-7E6FA2B288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30348283"/>
              </p:ext>
            </p:extLst>
          </p:nvPr>
        </p:nvGraphicFramePr>
        <p:xfrm>
          <a:off x="734" y="3437"/>
          <a:ext cx="567" cy="34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BFC1366-DDB8-A09A-8955-949BE7A9E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734" y="3437"/>
                        <a:ext cx="567" cy="34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809934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757123" rtl="0" eaLnBrk="1" latinLnBrk="0" hangingPunct="1">
        <a:lnSpc>
          <a:spcPct val="90000"/>
        </a:lnSpc>
        <a:spcBef>
          <a:spcPct val="0"/>
        </a:spcBef>
        <a:buNone/>
        <a:defRPr sz="364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9281" indent="-189281" algn="l" defTabSz="757123" rtl="0" eaLnBrk="1" latinLnBrk="0" hangingPunct="1">
        <a:lnSpc>
          <a:spcPct val="90000"/>
        </a:lnSpc>
        <a:spcBef>
          <a:spcPts val="828"/>
        </a:spcBef>
        <a:buFont typeface="Arial" panose="020B0604020202020204" pitchFamily="34" charset="0"/>
        <a:buChar char="•"/>
        <a:defRPr sz="2318" kern="1200">
          <a:solidFill>
            <a:schemeClr val="tx1"/>
          </a:solidFill>
          <a:latin typeface="+mn-lt"/>
          <a:ea typeface="+mn-ea"/>
          <a:cs typeface="+mn-cs"/>
        </a:defRPr>
      </a:lvl1pPr>
      <a:lvl2pPr marL="567842" indent="-189281" algn="l" defTabSz="757123" rtl="0" eaLnBrk="1" latinLnBrk="0" hangingPunct="1">
        <a:lnSpc>
          <a:spcPct val="90000"/>
        </a:lnSpc>
        <a:spcBef>
          <a:spcPts val="414"/>
        </a:spcBef>
        <a:buFont typeface="Arial" panose="020B0604020202020204" pitchFamily="34" charset="0"/>
        <a:buChar char="•"/>
        <a:defRPr sz="1987" kern="1200">
          <a:solidFill>
            <a:schemeClr val="tx1"/>
          </a:solidFill>
          <a:latin typeface="+mn-lt"/>
          <a:ea typeface="+mn-ea"/>
          <a:cs typeface="+mn-cs"/>
        </a:defRPr>
      </a:lvl2pPr>
      <a:lvl3pPr marL="946404" indent="-189281" algn="l" defTabSz="757123" rtl="0" eaLnBrk="1" latinLnBrk="0" hangingPunct="1">
        <a:lnSpc>
          <a:spcPct val="90000"/>
        </a:lnSpc>
        <a:spcBef>
          <a:spcPts val="414"/>
        </a:spcBef>
        <a:buFont typeface="Arial" panose="020B0604020202020204" pitchFamily="34" charset="0"/>
        <a:buChar char="•"/>
        <a:defRPr sz="1656" kern="1200">
          <a:solidFill>
            <a:schemeClr val="tx1"/>
          </a:solidFill>
          <a:latin typeface="+mn-lt"/>
          <a:ea typeface="+mn-ea"/>
          <a:cs typeface="+mn-cs"/>
        </a:defRPr>
      </a:lvl3pPr>
      <a:lvl4pPr marL="1324966" indent="-189281" algn="l" defTabSz="757123" rtl="0" eaLnBrk="1" latinLnBrk="0" hangingPunct="1">
        <a:lnSpc>
          <a:spcPct val="90000"/>
        </a:lnSpc>
        <a:spcBef>
          <a:spcPts val="414"/>
        </a:spcBef>
        <a:buFont typeface="Arial" panose="020B0604020202020204" pitchFamily="34" charset="0"/>
        <a:buChar char="•"/>
        <a:defRPr sz="1490" kern="1200">
          <a:solidFill>
            <a:schemeClr val="tx1"/>
          </a:solidFill>
          <a:latin typeface="+mn-lt"/>
          <a:ea typeface="+mn-ea"/>
          <a:cs typeface="+mn-cs"/>
        </a:defRPr>
      </a:lvl4pPr>
      <a:lvl5pPr marL="1703527" indent="-189281" algn="l" defTabSz="757123" rtl="0" eaLnBrk="1" latinLnBrk="0" hangingPunct="1">
        <a:lnSpc>
          <a:spcPct val="90000"/>
        </a:lnSpc>
        <a:spcBef>
          <a:spcPts val="414"/>
        </a:spcBef>
        <a:buFont typeface="Arial" panose="020B0604020202020204" pitchFamily="34" charset="0"/>
        <a:buChar char="•"/>
        <a:defRPr sz="1490" kern="1200">
          <a:solidFill>
            <a:schemeClr val="tx1"/>
          </a:solidFill>
          <a:latin typeface="+mn-lt"/>
          <a:ea typeface="+mn-ea"/>
          <a:cs typeface="+mn-cs"/>
        </a:defRPr>
      </a:lvl5pPr>
      <a:lvl6pPr marL="2082089" indent="-189281" algn="l" defTabSz="757123" rtl="0" eaLnBrk="1" latinLnBrk="0" hangingPunct="1">
        <a:lnSpc>
          <a:spcPct val="90000"/>
        </a:lnSpc>
        <a:spcBef>
          <a:spcPts val="414"/>
        </a:spcBef>
        <a:buFont typeface="Arial" panose="020B0604020202020204" pitchFamily="34" charset="0"/>
        <a:buChar char="•"/>
        <a:defRPr sz="1490" kern="1200">
          <a:solidFill>
            <a:schemeClr val="tx1"/>
          </a:solidFill>
          <a:latin typeface="+mn-lt"/>
          <a:ea typeface="+mn-ea"/>
          <a:cs typeface="+mn-cs"/>
        </a:defRPr>
      </a:lvl6pPr>
      <a:lvl7pPr marL="2460650" indent="-189281" algn="l" defTabSz="757123" rtl="0" eaLnBrk="1" latinLnBrk="0" hangingPunct="1">
        <a:lnSpc>
          <a:spcPct val="90000"/>
        </a:lnSpc>
        <a:spcBef>
          <a:spcPts val="414"/>
        </a:spcBef>
        <a:buFont typeface="Arial" panose="020B0604020202020204" pitchFamily="34" charset="0"/>
        <a:buChar char="•"/>
        <a:defRPr sz="1490" kern="1200">
          <a:solidFill>
            <a:schemeClr val="tx1"/>
          </a:solidFill>
          <a:latin typeface="+mn-lt"/>
          <a:ea typeface="+mn-ea"/>
          <a:cs typeface="+mn-cs"/>
        </a:defRPr>
      </a:lvl7pPr>
      <a:lvl8pPr marL="2839212" indent="-189281" algn="l" defTabSz="757123" rtl="0" eaLnBrk="1" latinLnBrk="0" hangingPunct="1">
        <a:lnSpc>
          <a:spcPct val="90000"/>
        </a:lnSpc>
        <a:spcBef>
          <a:spcPts val="414"/>
        </a:spcBef>
        <a:buFont typeface="Arial" panose="020B0604020202020204" pitchFamily="34" charset="0"/>
        <a:buChar char="•"/>
        <a:defRPr sz="1490" kern="1200">
          <a:solidFill>
            <a:schemeClr val="tx1"/>
          </a:solidFill>
          <a:latin typeface="+mn-lt"/>
          <a:ea typeface="+mn-ea"/>
          <a:cs typeface="+mn-cs"/>
        </a:defRPr>
      </a:lvl8pPr>
      <a:lvl9pPr marL="3217774" indent="-189281" algn="l" defTabSz="757123" rtl="0" eaLnBrk="1" latinLnBrk="0" hangingPunct="1">
        <a:lnSpc>
          <a:spcPct val="90000"/>
        </a:lnSpc>
        <a:spcBef>
          <a:spcPts val="414"/>
        </a:spcBef>
        <a:buFont typeface="Arial" panose="020B0604020202020204" pitchFamily="34" charset="0"/>
        <a:buChar char="•"/>
        <a:defRPr sz="149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57123" rtl="0" eaLnBrk="1" latinLnBrk="0" hangingPunct="1">
        <a:defRPr sz="1490" kern="1200">
          <a:solidFill>
            <a:schemeClr val="tx1"/>
          </a:solidFill>
          <a:latin typeface="+mn-lt"/>
          <a:ea typeface="+mn-ea"/>
          <a:cs typeface="+mn-cs"/>
        </a:defRPr>
      </a:lvl1pPr>
      <a:lvl2pPr marL="378562" algn="l" defTabSz="757123" rtl="0" eaLnBrk="1" latinLnBrk="0" hangingPunct="1">
        <a:defRPr sz="1490" kern="1200">
          <a:solidFill>
            <a:schemeClr val="tx1"/>
          </a:solidFill>
          <a:latin typeface="+mn-lt"/>
          <a:ea typeface="+mn-ea"/>
          <a:cs typeface="+mn-cs"/>
        </a:defRPr>
      </a:lvl2pPr>
      <a:lvl3pPr marL="757123" algn="l" defTabSz="757123" rtl="0" eaLnBrk="1" latinLnBrk="0" hangingPunct="1">
        <a:defRPr sz="1490" kern="1200">
          <a:solidFill>
            <a:schemeClr val="tx1"/>
          </a:solidFill>
          <a:latin typeface="+mn-lt"/>
          <a:ea typeface="+mn-ea"/>
          <a:cs typeface="+mn-cs"/>
        </a:defRPr>
      </a:lvl3pPr>
      <a:lvl4pPr marL="1135685" algn="l" defTabSz="757123" rtl="0" eaLnBrk="1" latinLnBrk="0" hangingPunct="1">
        <a:defRPr sz="1490" kern="1200">
          <a:solidFill>
            <a:schemeClr val="tx1"/>
          </a:solidFill>
          <a:latin typeface="+mn-lt"/>
          <a:ea typeface="+mn-ea"/>
          <a:cs typeface="+mn-cs"/>
        </a:defRPr>
      </a:lvl4pPr>
      <a:lvl5pPr marL="1514246" algn="l" defTabSz="757123" rtl="0" eaLnBrk="1" latinLnBrk="0" hangingPunct="1">
        <a:defRPr sz="1490" kern="1200">
          <a:solidFill>
            <a:schemeClr val="tx1"/>
          </a:solidFill>
          <a:latin typeface="+mn-lt"/>
          <a:ea typeface="+mn-ea"/>
          <a:cs typeface="+mn-cs"/>
        </a:defRPr>
      </a:lvl5pPr>
      <a:lvl6pPr marL="1892808" algn="l" defTabSz="757123" rtl="0" eaLnBrk="1" latinLnBrk="0" hangingPunct="1">
        <a:defRPr sz="1490" kern="1200">
          <a:solidFill>
            <a:schemeClr val="tx1"/>
          </a:solidFill>
          <a:latin typeface="+mn-lt"/>
          <a:ea typeface="+mn-ea"/>
          <a:cs typeface="+mn-cs"/>
        </a:defRPr>
      </a:lvl6pPr>
      <a:lvl7pPr marL="2271370" algn="l" defTabSz="757123" rtl="0" eaLnBrk="1" latinLnBrk="0" hangingPunct="1">
        <a:defRPr sz="1490" kern="1200">
          <a:solidFill>
            <a:schemeClr val="tx1"/>
          </a:solidFill>
          <a:latin typeface="+mn-lt"/>
          <a:ea typeface="+mn-ea"/>
          <a:cs typeface="+mn-cs"/>
        </a:defRPr>
      </a:lvl7pPr>
      <a:lvl8pPr marL="2649931" algn="l" defTabSz="757123" rtl="0" eaLnBrk="1" latinLnBrk="0" hangingPunct="1">
        <a:defRPr sz="1490" kern="1200">
          <a:solidFill>
            <a:schemeClr val="tx1"/>
          </a:solidFill>
          <a:latin typeface="+mn-lt"/>
          <a:ea typeface="+mn-ea"/>
          <a:cs typeface="+mn-cs"/>
        </a:defRPr>
      </a:lvl8pPr>
      <a:lvl9pPr marL="3028493" algn="l" defTabSz="757123" rtl="0" eaLnBrk="1" latinLnBrk="0" hangingPunct="1">
        <a:defRPr sz="149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3C6B259-63B8-BF22-4453-80F4BFDF4D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3915591"/>
              </p:ext>
            </p:extLst>
          </p:nvPr>
        </p:nvGraphicFramePr>
        <p:xfrm>
          <a:off x="-13944245" y="3436"/>
          <a:ext cx="2656" cy="34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13944245" y="3436"/>
                        <a:ext cx="2656" cy="34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775B301F-60F8-E323-2F54-AA7D4BFD065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930507"/>
            <a:ext cx="7570788" cy="1520537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2B9492D-06BE-B727-17E9-AC7504126792}"/>
              </a:ext>
            </a:extLst>
          </p:cNvPr>
          <p:cNvSpPr/>
          <p:nvPr/>
        </p:nvSpPr>
        <p:spPr>
          <a:xfrm>
            <a:off x="0" y="15158721"/>
            <a:ext cx="7570788" cy="1333422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40A0EA9-DA36-1CB4-F25C-137E4293521C}"/>
              </a:ext>
            </a:extLst>
          </p:cNvPr>
          <p:cNvSpPr/>
          <p:nvPr/>
        </p:nvSpPr>
        <p:spPr>
          <a:xfrm>
            <a:off x="-1" y="0"/>
            <a:ext cx="7570789" cy="1074821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FB726A5-EA60-B9B5-733E-09E80E3C54E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93222"/>
          <a:stretch/>
        </p:blipFill>
        <p:spPr>
          <a:xfrm>
            <a:off x="-1" y="15262691"/>
            <a:ext cx="7570788" cy="103054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BF2F624-9EF5-C797-30C6-04321AD54C03}"/>
              </a:ext>
            </a:extLst>
          </p:cNvPr>
          <p:cNvSpPr/>
          <p:nvPr/>
        </p:nvSpPr>
        <p:spPr>
          <a:xfrm>
            <a:off x="6966347" y="15536255"/>
            <a:ext cx="604441" cy="833057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D1402AF-7906-2267-FA06-10BC3C1A90A8}"/>
              </a:ext>
            </a:extLst>
          </p:cNvPr>
          <p:cNvSpPr/>
          <p:nvPr/>
        </p:nvSpPr>
        <p:spPr>
          <a:xfrm>
            <a:off x="0" y="15536255"/>
            <a:ext cx="604441" cy="833057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89897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 2013 - 2022</Template>
  <TotalTime>17</TotalTime>
  <Words>0</Words>
  <Application>Microsoft Macintosh PowerPoint</Application>
  <PresentationFormat>Custom</PresentationFormat>
  <Paragraphs>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rdan, Paul</dc:creator>
  <cp:lastModifiedBy>Jordan, Paul</cp:lastModifiedBy>
  <cp:revision>1</cp:revision>
  <dcterms:created xsi:type="dcterms:W3CDTF">2023-03-14T00:09:39Z</dcterms:created>
  <dcterms:modified xsi:type="dcterms:W3CDTF">2023-03-14T00:26:55Z</dcterms:modified>
</cp:coreProperties>
</file>